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4"/>
  </p:notesMasterIdLst>
  <p:sldIdLst>
    <p:sldId id="268" r:id="rId2"/>
    <p:sldId id="267" r:id="rId3"/>
  </p:sldIdLst>
  <p:sldSz cx="12192000" cy="6858000"/>
  <p:notesSz cx="6761163" cy="9942513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9C9C9"/>
    <a:srgbClr val="C2C2C2"/>
    <a:srgbClr val="F6B386"/>
    <a:srgbClr val="89A6D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7500" autoAdjust="0"/>
    <p:restoredTop sz="92153" autoAdjust="0"/>
  </p:normalViewPr>
  <p:slideViewPr>
    <p:cSldViewPr snapToGrid="0">
      <p:cViewPr varScale="1">
        <p:scale>
          <a:sx n="107" d="100"/>
          <a:sy n="107" d="100"/>
        </p:scale>
        <p:origin x="1182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2222222222222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8680006073754596"/>
          <c:y val="1.0234413298275324E-2"/>
          <c:w val="0.76436294497917034"/>
          <c:h val="0.79006250278532908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Лист1!$B$5</c:f>
              <c:strCache>
                <c:ptCount val="1"/>
                <c:pt idx="0">
                  <c:v>поставлено/введено</c:v>
                </c:pt>
              </c:strCache>
            </c:strRef>
          </c:tx>
          <c:spPr>
            <a:solidFill>
              <a:srgbClr val="E7835F"/>
            </a:solidFill>
            <a:ln>
              <a:solidFill>
                <a:schemeClr val="bg2">
                  <a:lumMod val="50000"/>
                </a:schemeClr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E7835F"/>
              </a:solidFill>
              <a:ln>
                <a:solidFill>
                  <a:schemeClr val="bg2">
                    <a:lumMod val="5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4-7786-4156-B558-824CB84C5430}"/>
              </c:ext>
            </c:extLst>
          </c:dPt>
          <c:dPt>
            <c:idx val="1"/>
            <c:invertIfNegative val="0"/>
            <c:bubble3D val="0"/>
            <c:spPr>
              <a:solidFill>
                <a:srgbClr val="E7835F"/>
              </a:solidFill>
              <a:ln>
                <a:solidFill>
                  <a:schemeClr val="bg2">
                    <a:lumMod val="5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786-4156-B558-824CB84C5430}"/>
              </c:ext>
            </c:extLst>
          </c:dPt>
          <c:dPt>
            <c:idx val="2"/>
            <c:invertIfNegative val="0"/>
            <c:bubble3D val="0"/>
            <c:spPr>
              <a:solidFill>
                <a:srgbClr val="E7835F"/>
              </a:solidFill>
              <a:ln>
                <a:solidFill>
                  <a:schemeClr val="bg2">
                    <a:lumMod val="5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7786-4156-B558-824CB84C5430}"/>
              </c:ext>
            </c:extLst>
          </c:dPt>
          <c:dLbls>
            <c:dLbl>
              <c:idx val="0"/>
              <c:layout>
                <c:manualLayout>
                  <c:x val="-1.2263383684823314E-2"/>
                  <c:y val="-3.5373679753999731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4-7786-4156-B558-824CB84C5430}"/>
                </c:ext>
              </c:extLst>
            </c:dLbl>
            <c:dLbl>
              <c:idx val="3"/>
              <c:layout>
                <c:manualLayout>
                  <c:x val="-5.6206525919523144E-17"/>
                  <c:y val="-3.5373679753999731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6-A238-4516-87CA-F1FDDF0AEB5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Лист1!$A$6:$A$9</c:f>
              <c:numCache>
                <c:formatCode>General</c:formatCode>
                <c:ptCount val="4"/>
                <c:pt idx="0">
                  <c:v>0</c:v>
                </c:pt>
                <c:pt idx="1">
                  <c:v>29</c:v>
                </c:pt>
                <c:pt idx="2">
                  <c:v>154</c:v>
                </c:pt>
                <c:pt idx="3">
                  <c:v>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786-4156-B558-824CB84C5430}"/>
            </c:ext>
          </c:extLst>
        </c:ser>
        <c:ser>
          <c:idx val="1"/>
          <c:order val="1"/>
          <c:tx>
            <c:strRef>
              <c:f>Лист1!$A$5</c:f>
              <c:strCache>
                <c:ptCount val="1"/>
                <c:pt idx="0">
                  <c:v>в процессе поставки/ввода</c:v>
                </c:pt>
              </c:strCache>
            </c:strRef>
          </c:tx>
          <c:spPr>
            <a:solidFill>
              <a:srgbClr val="BED7E8"/>
            </a:solidFill>
            <a:ln>
              <a:solidFill>
                <a:schemeClr val="bg2">
                  <a:lumMod val="50000"/>
                </a:schemeClr>
              </a:solidFill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rgbClr val="BED7E8"/>
              </a:solidFill>
              <a:ln>
                <a:solidFill>
                  <a:schemeClr val="bg2">
                    <a:lumMod val="5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6-7786-4156-B558-824CB84C5430}"/>
              </c:ext>
            </c:extLst>
          </c:dPt>
          <c:dLbls>
            <c:dLbl>
              <c:idx val="0"/>
              <c:layout>
                <c:manualLayout>
                  <c:x val="-1.1995423923206112E-3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9-A238-4516-87CA-F1FDDF0AEB51}"/>
                </c:ext>
              </c:extLst>
            </c:dLbl>
            <c:dLbl>
              <c:idx val="2"/>
              <c:layout>
                <c:manualLayout>
                  <c:x val="2.24024016919607E-3"/>
                  <c:y val="-7.0747359507999791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A-A238-4516-87CA-F1FDDF0AEB51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A238-4516-87CA-F1FDDF0AEB5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Лист1!$B$6:$B$9</c:f>
              <c:numCache>
                <c:formatCode>General</c:formatCode>
                <c:ptCount val="4"/>
                <c:pt idx="0">
                  <c:v>21</c:v>
                </c:pt>
                <c:pt idx="1">
                  <c:v>5</c:v>
                </c:pt>
                <c:pt idx="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786-4156-B558-824CB84C543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6"/>
        <c:overlap val="100"/>
        <c:axId val="53669800"/>
        <c:axId val="53670192"/>
      </c:barChart>
      <c:catAx>
        <c:axId val="53669800"/>
        <c:scaling>
          <c:orientation val="minMax"/>
        </c:scaling>
        <c:delete val="1"/>
        <c:axPos val="l"/>
        <c:majorTickMark val="none"/>
        <c:minorTickMark val="none"/>
        <c:tickLblPos val="nextTo"/>
        <c:crossAx val="53670192"/>
        <c:crosses val="autoZero"/>
        <c:auto val="1"/>
        <c:lblAlgn val="ctr"/>
        <c:lblOffset val="100"/>
        <c:noMultiLvlLbl val="0"/>
      </c:catAx>
      <c:valAx>
        <c:axId val="5367019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5366980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5.9629254736309492E-2"/>
          <c:y val="0.83009854494407054"/>
          <c:w val="0.87292213499716231"/>
          <c:h val="0.1215590044119613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rtl="0">
            <a:defRPr sz="1050" b="1" i="0" u="none" strike="noStrike" kern="1200" baseline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1054039542351105"/>
          <c:y val="0.10513424535911468"/>
          <c:w val="0.55060252620622008"/>
          <c:h val="0.85388719902605958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c:spPr>
          <c:dPt>
            <c:idx val="0"/>
            <c:bubble3D val="0"/>
            <c:spPr>
              <a:solidFill>
                <a:srgbClr val="B9BBBD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89F0-48D4-90E8-F5ED8392BED4}"/>
              </c:ext>
            </c:extLst>
          </c:dPt>
          <c:dPt>
            <c:idx val="1"/>
            <c:bubble3D val="0"/>
            <c:spPr>
              <a:solidFill>
                <a:srgbClr val="E4E5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89F0-48D4-90E8-F5ED8392BED4}"/>
              </c:ext>
            </c:extLst>
          </c:dPt>
          <c:dLbls>
            <c:dLbl>
              <c:idx val="0"/>
              <c:layout>
                <c:manualLayout>
                  <c:x val="-0.10725039357380269"/>
                  <c:y val="-0.15113047770372737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2,401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89F0-48D4-90E8-F5ED8392BED4}"/>
                </c:ext>
              </c:extLst>
            </c:dLbl>
            <c:dLbl>
              <c:idx val="1"/>
              <c:layout>
                <c:manualLayout>
                  <c:x val="0.12800853426550643"/>
                  <c:y val="6.5708903349446679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0,133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89F0-48D4-90E8-F5ED8392BED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Manrope Bold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ФБ</c:v>
                </c:pt>
                <c:pt idx="1">
                  <c:v>РБ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2.59</c:v>
                </c:pt>
                <c:pt idx="1">
                  <c:v>0.135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9F0-48D4-90E8-F5ED8392BE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121"/>
        <c:holeSize val="50"/>
      </c:doughnut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83245946646130087"/>
          <c:y val="0.38501226479963707"/>
          <c:w val="0.14413272070993435"/>
          <c:h val="0.1796197067544519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108915403493851"/>
          <c:y val="0.1068455970575239"/>
          <c:w val="0.78203952273711086"/>
          <c:h val="0.5737162703685591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bg1">
                  <a:lumMod val="85000"/>
                </a:schemeClr>
              </a:solidFill>
              <a:ln w="9525">
                <a:solidFill>
                  <a:schemeClr val="bg2">
                    <a:lumMod val="25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4-42F0-47C0-A762-7D3250D173D8}"/>
              </c:ext>
            </c:extLst>
          </c:dPt>
          <c:dLbls>
            <c:dLbl>
              <c:idx val="0"/>
              <c:layout>
                <c:manualLayout>
                  <c:x val="0"/>
                  <c:y val="-1.9818836648441366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4-42F0-47C0-A762-7D3250D173D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Manrope Bold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B$1</c:f>
              <c:strCache>
                <c:ptCount val="1"/>
                <c:pt idx="0">
                  <c:v>факт
на 11.06.2024</c:v>
                </c:pt>
              </c:strCache>
            </c:strRef>
          </c:cat>
          <c:val>
            <c:numRef>
              <c:f>Лист1!$B$2</c:f>
              <c:numCache>
                <c:formatCode>0%</c:formatCode>
                <c:ptCount val="1"/>
                <c:pt idx="0">
                  <c:v>0.6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2F0-47C0-A762-7D3250D173D8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19"/>
        <c:overlap val="-27"/>
        <c:axId val="53671368"/>
        <c:axId val="53671760"/>
      </c:barChart>
      <c:catAx>
        <c:axId val="536713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2">
                <a:lumMod val="2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1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3671760"/>
        <c:crosses val="autoZero"/>
        <c:auto val="1"/>
        <c:lblAlgn val="ctr"/>
        <c:lblOffset val="100"/>
        <c:noMultiLvlLbl val="0"/>
      </c:catAx>
      <c:valAx>
        <c:axId val="53671760"/>
        <c:scaling>
          <c:orientation val="minMax"/>
          <c:max val="1"/>
          <c:min val="0"/>
        </c:scaling>
        <c:delete val="1"/>
        <c:axPos val="l"/>
        <c:numFmt formatCode="0%" sourceLinked="1"/>
        <c:majorTickMark val="out"/>
        <c:minorTickMark val="none"/>
        <c:tickLblPos val="nextTo"/>
        <c:crossAx val="5367136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29837" cy="498236"/>
          </a:xfrm>
          <a:prstGeom prst="rect">
            <a:avLst/>
          </a:prstGeom>
        </p:spPr>
        <p:txBody>
          <a:bodyPr vert="horz" lIns="90882" tIns="45441" rIns="90882" bIns="45441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29761" y="1"/>
            <a:ext cx="2929837" cy="498236"/>
          </a:xfrm>
          <a:prstGeom prst="rect">
            <a:avLst/>
          </a:prstGeom>
        </p:spPr>
        <p:txBody>
          <a:bodyPr vert="horz" lIns="90882" tIns="45441" rIns="90882" bIns="45441" rtlCol="0"/>
          <a:lstStyle>
            <a:lvl1pPr algn="r">
              <a:defRPr sz="1200"/>
            </a:lvl1pPr>
          </a:lstStyle>
          <a:p>
            <a:fld id="{256CE948-4BA2-4BCA-B67A-21A80693EE82}" type="datetimeFigureOut">
              <a:rPr lang="ru-RU" smtClean="0"/>
              <a:t>14.06.2024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398463" y="1243013"/>
            <a:ext cx="5964237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882" tIns="45441" rIns="90882" bIns="45441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6117" y="4785608"/>
            <a:ext cx="5408930" cy="3914488"/>
          </a:xfrm>
          <a:prstGeom prst="rect">
            <a:avLst/>
          </a:prstGeom>
        </p:spPr>
        <p:txBody>
          <a:bodyPr vert="horz" lIns="90882" tIns="45441" rIns="90882" bIns="45441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44277"/>
            <a:ext cx="2929837" cy="498236"/>
          </a:xfrm>
          <a:prstGeom prst="rect">
            <a:avLst/>
          </a:prstGeom>
        </p:spPr>
        <p:txBody>
          <a:bodyPr vert="horz" lIns="90882" tIns="45441" rIns="90882" bIns="45441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29761" y="9444277"/>
            <a:ext cx="2929837" cy="498236"/>
          </a:xfrm>
          <a:prstGeom prst="rect">
            <a:avLst/>
          </a:prstGeom>
        </p:spPr>
        <p:txBody>
          <a:bodyPr vert="horz" lIns="90882" tIns="45441" rIns="90882" bIns="45441" rtlCol="0" anchor="b"/>
          <a:lstStyle>
            <a:lvl1pPr algn="r">
              <a:defRPr sz="1200"/>
            </a:lvl1pPr>
          </a:lstStyle>
          <a:p>
            <a:fld id="{1C93E21A-674E-4D4D-9255-92B27655B21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527782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93E21A-674E-4D4D-9255-92B27655B218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140618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>
              <a:latin typeface="Arial" panose="020B0604020202020204" pitchFamily="34" charset="0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3E4EA76-DF72-4876-A1A9-8232E1ACACC1}" type="slidenum">
              <a:rPr lang="ru-RU" smtClean="0">
                <a:latin typeface="Arial" panose="020B0604020202020204" pitchFamily="34" charset="0"/>
              </a:rPr>
              <a:pPr/>
              <a:t>2</a:t>
            </a:fld>
            <a:endParaRPr lang="ru-RU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254291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711DF1C-6288-4805-ACD9-3B1C0D6C1C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B8612D67-C620-4947-97A3-38C1F66EA3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95FDA2-0614-40F0-BFFF-82596DBE3742}" type="datetime1">
              <a:rPr lang="en-US" smtClean="0"/>
              <a:t>6/14/2024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7CAC1246-4BCC-4E64-A491-2D9AE284C8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830E85C4-9534-4519-A35E-F2C7534F40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293B-0F48-4631-B7D4-FA0DF5DA0F3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687361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5" name="Слайд think-cell" r:id="rId4" imgW="592" imgH="591" progId="TCLayout.ActiveDocument.1">
                  <p:embed/>
                </p:oleObj>
              </mc:Choice>
              <mc:Fallback>
                <p:oleObj name="Слайд think-cell" r:id="rId4" imgW="592" imgH="591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Номер слайда 5">
            <a:extLst>
              <a:ext uri="{FF2B5EF4-FFF2-40B4-BE49-F238E27FC236}">
                <a16:creationId xmlns:a16="http://schemas.microsoft.com/office/drawing/2014/main" id="{89BD55ED-F61F-D642-A39F-931CA0F3C6F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3603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F242F335-7976-4CDA-A592-2CBE9F9A773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540487A7-3EA0-1049-9973-AEEFFD28FCFA}"/>
              </a:ext>
            </a:extLst>
          </p:cNvPr>
          <p:cNvSpPr/>
          <p:nvPr userDrawn="1"/>
        </p:nvSpPr>
        <p:spPr>
          <a:xfrm flipH="1">
            <a:off x="263349" y="301735"/>
            <a:ext cx="11721711" cy="792089"/>
          </a:xfrm>
          <a:prstGeom prst="parallelogram">
            <a:avLst>
              <a:gd name="adj" fmla="val 56742"/>
            </a:avLst>
          </a:prstGeom>
          <a:solidFill>
            <a:schemeClr val="bg1">
              <a:lumMod val="85000"/>
              <a:alpha val="4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0" i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562905A2-C016-B741-BD49-16A3E3A939B1}"/>
              </a:ext>
            </a:extLst>
          </p:cNvPr>
          <p:cNvGrpSpPr/>
          <p:nvPr userDrawn="1"/>
        </p:nvGrpSpPr>
        <p:grpSpPr>
          <a:xfrm>
            <a:off x="9240820" y="430599"/>
            <a:ext cx="2504796" cy="534360"/>
            <a:chOff x="1326854" y="485273"/>
            <a:chExt cx="6343946" cy="1353383"/>
          </a:xfrm>
        </p:grpSpPr>
        <p:sp>
          <p:nvSpPr>
            <p:cNvPr id="9" name="Заголовок 1">
              <a:extLst>
                <a:ext uri="{FF2B5EF4-FFF2-40B4-BE49-F238E27FC236}">
                  <a16:creationId xmlns:a16="http://schemas.microsoft.com/office/drawing/2014/main" id="{EBFA88D6-8786-754C-B6D9-019C6946852D}"/>
                </a:ext>
              </a:extLst>
            </p:cNvPr>
            <p:cNvSpPr txBox="1">
              <a:spLocks/>
            </p:cNvSpPr>
            <p:nvPr/>
          </p:nvSpPr>
          <p:spPr>
            <a:xfrm>
              <a:off x="2744994" y="713764"/>
              <a:ext cx="4925806" cy="1124892"/>
            </a:xfrm>
            <a:prstGeom prst="rect">
              <a:avLst/>
            </a:prstGeom>
          </p:spPr>
          <p:txBody>
            <a:bodyPr/>
            <a:lstStyle>
              <a:lvl1pPr algn="ctr" defTabSz="2438645" rtl="0" eaLnBrk="1" latinLnBrk="0" hangingPunct="1">
                <a:spcBef>
                  <a:spcPct val="0"/>
                </a:spcBef>
                <a:buNone/>
                <a:defRPr sz="11701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l">
                <a:tabLst>
                  <a:tab pos="4183978" algn="l"/>
                  <a:tab pos="6485713" algn="l"/>
                </a:tabLst>
              </a:pPr>
              <a:r>
                <a:rPr lang="ru-RU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Helvetica Neue" panose="02000503000000020004" pitchFamily="2" charset="0"/>
                  <a:cs typeface="Arial" panose="020B0604020202020204" pitchFamily="34" charset="0"/>
                </a:rPr>
                <a:t>Правительство Нижегородской области</a:t>
              </a:r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6C0A8356-D534-E042-A397-00C04CEE0CB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26854" y="485273"/>
              <a:ext cx="1313964" cy="135338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866026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52615DC-D3DD-4FF7-BB4F-C01552B71262}" type="datetime1">
              <a:rPr lang="en-US" smtClean="0"/>
              <a:t>6/14/2024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400" b="0" i="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pPr marL="25400">
              <a:lnSpc>
                <a:spcPct val="100000"/>
              </a:lnSpc>
              <a:spcBef>
                <a:spcPts val="30"/>
              </a:spcBef>
            </a:pPr>
            <a:fld id="{81D60167-4931-47E6-BA6A-407CBD079E47}" type="slidenum">
              <a:rPr dirty="0"/>
              <a:pPr marL="25400">
                <a:lnSpc>
                  <a:spcPct val="100000"/>
                </a:lnSpc>
                <a:spcBef>
                  <a:spcPts val="30"/>
                </a:spcBef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7431465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D138A76-C4AC-4669-B0AA-CFF8CA8C0C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F1348075-2DAB-4A65-A85B-CFC4BA2F8EE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D4E47016-AA3C-4564-9DE0-F70BD29AD9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1400610-372A-4BDA-9BE1-6010D54358D8}" type="datetime1">
              <a:rPr lang="en-US" smtClean="0"/>
              <a:t>6/14/2024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6A506608-6C34-4487-9778-C284DCF476C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390B8C5A-8F74-4112-8E62-FBC5F8682A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AF9293B-0F48-4631-B7D4-FA0DF5DA0F3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859964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  <p:sldLayoutId id="2147483655" r:id="rId2"/>
    <p:sldLayoutId id="2147483656" r:id="rId3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6.jpeg"/><Relationship Id="rId5" Type="http://schemas.openxmlformats.org/officeDocument/2006/relationships/image" Target="../media/image5.jpg"/><Relationship Id="rId4" Type="http://schemas.openxmlformats.org/officeDocument/2006/relationships/image" Target="../media/image4.jpe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13" Type="http://schemas.openxmlformats.org/officeDocument/2006/relationships/image" Target="../media/image10.jpeg"/><Relationship Id="rId3" Type="http://schemas.openxmlformats.org/officeDocument/2006/relationships/tags" Target="../tags/tag3.xml"/><Relationship Id="rId7" Type="http://schemas.openxmlformats.org/officeDocument/2006/relationships/image" Target="../media/image7.emf"/><Relationship Id="rId12" Type="http://schemas.openxmlformats.org/officeDocument/2006/relationships/image" Target="../media/image9.emf"/><Relationship Id="rId17" Type="http://schemas.openxmlformats.org/officeDocument/2006/relationships/image" Target="../media/image6.jpeg"/><Relationship Id="rId2" Type="http://schemas.openxmlformats.org/officeDocument/2006/relationships/tags" Target="../tags/tag2.xml"/><Relationship Id="rId16" Type="http://schemas.microsoft.com/office/2007/relationships/hdphoto" Target="../media/hdphoto1.wdp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11" Type="http://schemas.openxmlformats.org/officeDocument/2006/relationships/image" Target="../media/image8.emf"/><Relationship Id="rId5" Type="http://schemas.openxmlformats.org/officeDocument/2006/relationships/notesSlide" Target="../notesSlides/notesSlide2.xml"/><Relationship Id="rId15" Type="http://schemas.openxmlformats.org/officeDocument/2006/relationships/image" Target="../media/image12.png"/><Relationship Id="rId10" Type="http://schemas.openxmlformats.org/officeDocument/2006/relationships/chart" Target="../charts/chart3.xml"/><Relationship Id="rId4" Type="http://schemas.openxmlformats.org/officeDocument/2006/relationships/slideLayout" Target="../slideLayouts/slideLayout2.xml"/><Relationship Id="rId9" Type="http://schemas.openxmlformats.org/officeDocument/2006/relationships/chart" Target="../charts/chart2.xml"/><Relationship Id="rId14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8" name="Пример обложки…"/>
          <p:cNvSpPr txBox="1"/>
          <p:nvPr/>
        </p:nvSpPr>
        <p:spPr>
          <a:xfrm>
            <a:off x="344112" y="1561382"/>
            <a:ext cx="11471370" cy="64222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25400" tIns="25400" rIns="25400" bIns="25400" anchor="ctr">
            <a:spAutoFit/>
          </a:bodyPr>
          <a:lstStyle/>
          <a:p>
            <a:pPr algn="ctr">
              <a:lnSpc>
                <a:spcPct val="80000"/>
              </a:lnSpc>
              <a:defRPr sz="7000">
                <a:latin typeface="Manrope Bold"/>
                <a:ea typeface="Manrope Bold"/>
                <a:cs typeface="Manrope Bold"/>
                <a:sym typeface="Manrope Bold"/>
              </a:defRPr>
            </a:pPr>
            <a:r>
              <a:rPr lang="ru-RU" sz="2400" dirty="0">
                <a:sym typeface="Manrope Bold"/>
              </a:rPr>
              <a:t>О </a:t>
            </a:r>
            <a:r>
              <a:rPr lang="ru-RU" sz="2400" dirty="0" smtClean="0">
                <a:sym typeface="Manrope Bold"/>
              </a:rPr>
              <a:t>реализации региональной </a:t>
            </a:r>
            <a:r>
              <a:rPr lang="ru-RU" sz="2400" dirty="0">
                <a:sym typeface="Manrope Bold"/>
              </a:rPr>
              <a:t>программы </a:t>
            </a:r>
            <a:r>
              <a:rPr lang="ru-RU" sz="2400" dirty="0" smtClean="0">
                <a:sym typeface="Manrope Bold"/>
              </a:rPr>
              <a:t>модернизации первичного звена здравоохранения Нижегородской области (по состоянию на </a:t>
            </a:r>
            <a:r>
              <a:rPr lang="ru-RU" sz="2400" dirty="0" smtClean="0">
                <a:sym typeface="Manrope Bold"/>
              </a:rPr>
              <a:t>11.06.2024 </a:t>
            </a:r>
            <a:r>
              <a:rPr lang="ru-RU" sz="2400" dirty="0" smtClean="0">
                <a:sym typeface="Manrope Bold"/>
              </a:rPr>
              <a:t>г.)</a:t>
            </a:r>
            <a:endParaRPr sz="2400" dirty="0"/>
          </a:p>
        </p:txBody>
      </p:sp>
      <p:pic>
        <p:nvPicPr>
          <p:cNvPr id="3619" name="Ministerstvo_Zdravoohraneniya_CMYK.pdf" descr="Ministerstvo_Zdravoohraneniya_CMYK.pdf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42182" y="344685"/>
            <a:ext cx="1811618" cy="596884"/>
          </a:xfrm>
          <a:prstGeom prst="rect">
            <a:avLst/>
          </a:prstGeom>
          <a:ln w="12700">
            <a:miter lim="400000"/>
          </a:ln>
        </p:spPr>
      </p:pic>
      <p:pic>
        <p:nvPicPr>
          <p:cNvPr id="4098" name="Picture 2" descr="https://i.mycdn.me/i?r=AzEPZsRbOZEKgBhR0XGMT1RkOvq3DHvzxw8GK2DxRuXcvKaKTM5SRkZCeTgDn6uOyic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3430" y="283648"/>
            <a:ext cx="888399" cy="7189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74" y="2761130"/>
            <a:ext cx="11998245" cy="3960346"/>
          </a:xfrm>
          <a:prstGeom prst="rect">
            <a:avLst/>
          </a:prstGeom>
          <a:effectLst>
            <a:glow>
              <a:schemeClr val="accent1">
                <a:alpha val="0"/>
              </a:schemeClr>
            </a:glow>
            <a:reflection endPos="0" dist="50800" dir="5400000" sy="-100000" algn="bl" rotWithShape="0"/>
            <a:softEdge rad="177800"/>
          </a:effectLst>
        </p:spPr>
      </p:pic>
      <p:sp>
        <p:nvSpPr>
          <p:cNvPr id="5" name="Нижний колонтитул 4"/>
          <p:cNvSpPr>
            <a:spLocks noGrp="1"/>
          </p:cNvSpPr>
          <p:nvPr>
            <p:ph type="ftr" sz="quarter" idx="5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pPr marL="25400">
              <a:lnSpc>
                <a:spcPct val="100000"/>
              </a:lnSpc>
              <a:spcBef>
                <a:spcPts val="30"/>
              </a:spcBef>
            </a:pPr>
            <a:fld id="{81D60167-4931-47E6-BA6A-407CBD079E47}" type="slidenum">
              <a:rPr lang="ru-RU" smtClean="0"/>
              <a:pPr marL="25400">
                <a:lnSpc>
                  <a:spcPct val="100000"/>
                </a:lnSpc>
                <a:spcBef>
                  <a:spcPts val="30"/>
                </a:spcBef>
              </a:pPr>
              <a:t>1</a:t>
            </a:fld>
            <a:endParaRPr lang="ru-RU" dirty="0"/>
          </a:p>
        </p:txBody>
      </p:sp>
      <p:pic>
        <p:nvPicPr>
          <p:cNvPr id="12" name="Picture 55" descr="https://sun9-70.userapi.com/sun9-67/impg/BYN5YSvgOZPaWOsIYKot2IeAjZpzPumVWXfFyA/d_ONlWsBltI.jpg?size=727x370&amp;quality=96&amp;sign=0bfc904bb711b9237da0349f96248802&amp;c_uniq_tag=UBBkQQsjy3PUYgJFEe-rPY_A7uwbFqHHNXghCrA3oFM&amp;type=album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28" t="23709" r="22350" b="27669"/>
          <a:stretch/>
        </p:blipFill>
        <p:spPr bwMode="auto">
          <a:xfrm>
            <a:off x="1338018" y="129800"/>
            <a:ext cx="1664274" cy="670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137508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A46FE874-93CF-44CD-B1C8-B55495BD4E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11" name="Слайд think-cell" r:id="rId6" imgW="532" imgH="533" progId="TCLayout.ActiveDocument.1">
                  <p:embed/>
                </p:oleObj>
              </mc:Choice>
              <mc:Fallback>
                <p:oleObj name="Слайд think-cell" r:id="rId6" imgW="532" imgH="533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A46FE874-93CF-44CD-B1C8-B55495BD4E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3" name="Прямоугольник: скругленные углы 2">
            <a:extLst>
              <a:ext uri="{FF2B5EF4-FFF2-40B4-BE49-F238E27FC236}">
                <a16:creationId xmlns:a16="http://schemas.microsoft.com/office/drawing/2014/main" id="{CD7A095B-8C3F-41FA-836E-357E0D95DAD5}"/>
              </a:ext>
            </a:extLst>
          </p:cNvPr>
          <p:cNvSpPr/>
          <p:nvPr/>
        </p:nvSpPr>
        <p:spPr>
          <a:xfrm>
            <a:off x="8206969" y="3380778"/>
            <a:ext cx="3696970" cy="1996003"/>
          </a:xfrm>
          <a:prstGeom prst="roundRect">
            <a:avLst>
              <a:gd name="adj" fmla="val 7763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05" name="Прямоугольник: скругленные углы 2">
            <a:extLst>
              <a:ext uri="{FF2B5EF4-FFF2-40B4-BE49-F238E27FC236}">
                <a16:creationId xmlns:a16="http://schemas.microsoft.com/office/drawing/2014/main" id="{C4E53E5F-FB84-46FE-B8AA-B87E73BBABD0}"/>
              </a:ext>
            </a:extLst>
          </p:cNvPr>
          <p:cNvSpPr/>
          <p:nvPr/>
        </p:nvSpPr>
        <p:spPr>
          <a:xfrm>
            <a:off x="8206969" y="1299903"/>
            <a:ext cx="3696970" cy="1996003"/>
          </a:xfrm>
          <a:prstGeom prst="roundRect">
            <a:avLst>
              <a:gd name="adj" fmla="val 7763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17" name="Прямоугольник: скругленные углы 93">
            <a:extLst>
              <a:ext uri="{FF2B5EF4-FFF2-40B4-BE49-F238E27FC236}">
                <a16:creationId xmlns:a16="http://schemas.microsoft.com/office/drawing/2014/main" id="{638A355B-7716-4DE6-BF3F-E58920AB52FE}"/>
              </a:ext>
            </a:extLst>
          </p:cNvPr>
          <p:cNvSpPr/>
          <p:nvPr/>
        </p:nvSpPr>
        <p:spPr>
          <a:xfrm>
            <a:off x="280334" y="1299903"/>
            <a:ext cx="7800179" cy="5056448"/>
          </a:xfrm>
          <a:prstGeom prst="roundRect">
            <a:avLst>
              <a:gd name="adj" fmla="val 3609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7" name="Text Box 23"/>
          <p:cNvSpPr txBox="1">
            <a:spLocks noChangeArrowheads="1"/>
          </p:cNvSpPr>
          <p:nvPr/>
        </p:nvSpPr>
        <p:spPr bwMode="auto">
          <a:xfrm>
            <a:off x="746827" y="262345"/>
            <a:ext cx="8555644" cy="851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anchor="ctr" anchorCtr="0">
            <a:noAutofit/>
          </a:bodyPr>
          <a:lstStyle/>
          <a:p>
            <a:pPr>
              <a:lnSpc>
                <a:spcPts val="2460"/>
              </a:lnSpc>
              <a:tabLst>
                <a:tab pos="2620963" algn="l"/>
              </a:tabLst>
            </a:pPr>
            <a:r>
              <a:rPr lang="ru-RU" b="1" dirty="0" smtClean="0">
                <a:solidFill>
                  <a:srgbClr val="FF0000"/>
                </a:solidFill>
                <a:latin typeface="Manrope Bold"/>
                <a:ea typeface="Tahoma" pitchFamily="34" charset="0"/>
                <a:cs typeface="Arial" panose="020B0604020202020204" pitchFamily="34" charset="0"/>
              </a:rPr>
              <a:t>Модернизация </a:t>
            </a:r>
            <a:r>
              <a:rPr lang="ru-RU" b="1" dirty="0">
                <a:solidFill>
                  <a:srgbClr val="FF0000"/>
                </a:solidFill>
                <a:latin typeface="Manrope Bold"/>
                <a:ea typeface="Tahoma" pitchFamily="34" charset="0"/>
                <a:cs typeface="Arial" panose="020B0604020202020204" pitchFamily="34" charset="0"/>
              </a:rPr>
              <a:t>первичного звена  </a:t>
            </a:r>
            <a:r>
              <a:rPr lang="ru-RU" b="1" dirty="0" smtClean="0">
                <a:solidFill>
                  <a:srgbClr val="FF0000"/>
                </a:solidFill>
                <a:latin typeface="Manrope Bold"/>
                <a:ea typeface="Tahoma" pitchFamily="34" charset="0"/>
                <a:cs typeface="Arial" panose="020B0604020202020204" pitchFamily="34" charset="0"/>
              </a:rPr>
              <a:t>здравоохранения</a:t>
            </a:r>
          </a:p>
          <a:p>
            <a:pPr>
              <a:lnSpc>
                <a:spcPts val="2460"/>
              </a:lnSpc>
              <a:tabLst>
                <a:tab pos="2620963" algn="l"/>
              </a:tabLst>
            </a:pPr>
            <a:r>
              <a:rPr lang="ru-RU" b="1" dirty="0" smtClean="0">
                <a:latin typeface="Manrope Bold"/>
                <a:ea typeface="Tahoma" pitchFamily="34" charset="0"/>
                <a:cs typeface="Arial" panose="020B0604020202020204" pitchFamily="34" charset="0"/>
              </a:rPr>
              <a:t>2024 год</a:t>
            </a:r>
            <a:endParaRPr lang="ru-RU" b="1" dirty="0">
              <a:latin typeface="Manrope Bold"/>
              <a:ea typeface="Tahoma" pitchFamily="34" charset="0"/>
              <a:cs typeface="Arial" panose="020B0604020202020204" pitchFamily="34" charset="0"/>
            </a:endParaRPr>
          </a:p>
        </p:txBody>
      </p:sp>
      <p:sp>
        <p:nvSpPr>
          <p:cNvPr id="61" name="Скругленный прямоугольник 1">
            <a:extLst>
              <a:ext uri="{FF2B5EF4-FFF2-40B4-BE49-F238E27FC236}">
                <a16:creationId xmlns:a16="http://schemas.microsoft.com/office/drawing/2014/main" id="{1C0C667D-3844-9E41-AA14-84C55EF847C1}"/>
              </a:ext>
            </a:extLst>
          </p:cNvPr>
          <p:cNvSpPr/>
          <p:nvPr/>
        </p:nvSpPr>
        <p:spPr>
          <a:xfrm>
            <a:off x="1091695" y="2629435"/>
            <a:ext cx="2972860" cy="633050"/>
          </a:xfrm>
          <a:prstGeom prst="roundRect">
            <a:avLst>
              <a:gd name="adj" fmla="val 14542"/>
            </a:avLst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200" b="1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Дооснащение и переоснащение оборудованием</a:t>
            </a:r>
            <a:br>
              <a:rPr lang="ru-RU" sz="1200" b="1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</a:br>
            <a:r>
              <a:rPr lang="ru-RU" sz="1000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(ед. высокотехнологичного оборудования</a:t>
            </a:r>
            <a:r>
              <a:rPr lang="ru-RU" sz="1200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)</a:t>
            </a:r>
          </a:p>
        </p:txBody>
      </p:sp>
      <p:graphicFrame>
        <p:nvGraphicFramePr>
          <p:cNvPr id="104" name="Диаграмма 10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08284148"/>
              </p:ext>
            </p:extLst>
          </p:nvPr>
        </p:nvGraphicFramePr>
        <p:xfrm>
          <a:off x="3964220" y="1834025"/>
          <a:ext cx="4142413" cy="35902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10" name="Скругленный прямоугольник 1">
            <a:extLst>
              <a:ext uri="{FF2B5EF4-FFF2-40B4-BE49-F238E27FC236}">
                <a16:creationId xmlns:a16="http://schemas.microsoft.com/office/drawing/2014/main" id="{1C0C667D-3844-9E41-AA14-84C55EF847C1}"/>
              </a:ext>
            </a:extLst>
          </p:cNvPr>
          <p:cNvSpPr/>
          <p:nvPr/>
        </p:nvSpPr>
        <p:spPr>
          <a:xfrm>
            <a:off x="1097350" y="3312620"/>
            <a:ext cx="3053971" cy="633050"/>
          </a:xfrm>
          <a:prstGeom prst="roundRect">
            <a:avLst>
              <a:gd name="adj" fmla="val 14542"/>
            </a:avLst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200" b="1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Проведение</a:t>
            </a:r>
          </a:p>
          <a:p>
            <a:r>
              <a:rPr lang="ru-RU" sz="1200" b="1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капитального ремонта</a:t>
            </a:r>
          </a:p>
          <a:p>
            <a:r>
              <a:rPr lang="ru-RU" sz="1000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(объектов здравоохранения </a:t>
            </a:r>
            <a:r>
              <a:rPr lang="ru-RU" sz="1200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)</a:t>
            </a:r>
          </a:p>
        </p:txBody>
      </p:sp>
      <p:sp>
        <p:nvSpPr>
          <p:cNvPr id="111" name="Скругленный прямоугольник 1">
            <a:extLst>
              <a:ext uri="{FF2B5EF4-FFF2-40B4-BE49-F238E27FC236}">
                <a16:creationId xmlns:a16="http://schemas.microsoft.com/office/drawing/2014/main" id="{1C0C667D-3844-9E41-AA14-84C55EF847C1}"/>
              </a:ext>
            </a:extLst>
          </p:cNvPr>
          <p:cNvSpPr/>
          <p:nvPr/>
        </p:nvSpPr>
        <p:spPr>
          <a:xfrm>
            <a:off x="1091694" y="1937222"/>
            <a:ext cx="2817948" cy="633050"/>
          </a:xfrm>
          <a:prstGeom prst="roundRect">
            <a:avLst>
              <a:gd name="adj" fmla="val 14542"/>
            </a:avLst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200" b="1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Оснащение автомобильным транспортом</a:t>
            </a:r>
          </a:p>
          <a:p>
            <a:r>
              <a:rPr lang="ru-RU" sz="1000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(ед.автомобилей</a:t>
            </a:r>
            <a:r>
              <a:rPr lang="ru-RU" sz="1200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)</a:t>
            </a:r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8593BF73-1FE5-44ED-9ADB-012F7A4D668B}"/>
              </a:ext>
            </a:extLst>
          </p:cNvPr>
          <p:cNvSpPr txBox="1"/>
          <p:nvPr/>
        </p:nvSpPr>
        <p:spPr>
          <a:xfrm>
            <a:off x="3909642" y="1345746"/>
            <a:ext cx="346270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Количество, </a:t>
            </a:r>
            <a:r>
              <a:rPr lang="ru-RU" sz="1200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ед./объектов </a:t>
            </a:r>
          </a:p>
        </p:txBody>
      </p:sp>
      <p:sp>
        <p:nvSpPr>
          <p:cNvPr id="138" name="Прямоугольник 137">
            <a:extLst>
              <a:ext uri="{FF2B5EF4-FFF2-40B4-BE49-F238E27FC236}">
                <a16:creationId xmlns:a16="http://schemas.microsoft.com/office/drawing/2014/main" id="{02AFDF67-619B-41BA-BFCD-A543EB68CB5B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631912" y="6215460"/>
            <a:ext cx="585788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214" name="TextBox 213">
            <a:extLst>
              <a:ext uri="{FF2B5EF4-FFF2-40B4-BE49-F238E27FC236}">
                <a16:creationId xmlns:a16="http://schemas.microsoft.com/office/drawing/2014/main" id="{8593BF73-1FE5-44ED-9ADB-012F7A4D668B}"/>
              </a:ext>
            </a:extLst>
          </p:cNvPr>
          <p:cNvSpPr txBox="1"/>
          <p:nvPr/>
        </p:nvSpPr>
        <p:spPr>
          <a:xfrm>
            <a:off x="8730951" y="1316533"/>
            <a:ext cx="274538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инансирование РПМ</a:t>
            </a:r>
            <a:r>
              <a:rPr lang="ru-RU" sz="12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млрд руб.</a:t>
            </a:r>
            <a:endParaRPr lang="ru-RU" sz="1200" b="1" dirty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8A4A6C13-466D-48D5-855F-B78139E8C81C}"/>
              </a:ext>
            </a:extLst>
          </p:cNvPr>
          <p:cNvCxnSpPr>
            <a:cxnSpLocks/>
          </p:cNvCxnSpPr>
          <p:nvPr/>
        </p:nvCxnSpPr>
        <p:spPr>
          <a:xfrm>
            <a:off x="4636193" y="1956639"/>
            <a:ext cx="0" cy="2655028"/>
          </a:xfrm>
          <a:prstGeom prst="line">
            <a:avLst/>
          </a:prstGeom>
          <a:ln w="1905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45">
            <a:extLst>
              <a:ext uri="{FF2B5EF4-FFF2-40B4-BE49-F238E27FC236}">
                <a16:creationId xmlns:a16="http://schemas.microsoft.com/office/drawing/2014/main" id="{0DABF313-983D-42E3-9ED5-DC558B5A5E96}"/>
              </a:ext>
            </a:extLst>
          </p:cNvPr>
          <p:cNvSpPr txBox="1"/>
          <p:nvPr/>
        </p:nvSpPr>
        <p:spPr>
          <a:xfrm>
            <a:off x="5829882" y="6554272"/>
            <a:ext cx="185316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Б</a:t>
            </a:r>
            <a:r>
              <a:rPr lang="ru-RU" sz="10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региональный бюджет</a:t>
            </a:r>
            <a:endParaRPr lang="ru-RU" sz="10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211" name="TextBox 210">
            <a:extLst>
              <a:ext uri="{FF2B5EF4-FFF2-40B4-BE49-F238E27FC236}">
                <a16:creationId xmlns:a16="http://schemas.microsoft.com/office/drawing/2014/main" id="{199876E7-C89A-49E4-87DF-DD224DD36553}"/>
              </a:ext>
            </a:extLst>
          </p:cNvPr>
          <p:cNvSpPr txBox="1"/>
          <p:nvPr/>
        </p:nvSpPr>
        <p:spPr>
          <a:xfrm>
            <a:off x="3532370" y="6554272"/>
            <a:ext cx="185316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Б</a:t>
            </a:r>
            <a:r>
              <a:rPr lang="ru-RU" sz="10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федеральный бюджет</a:t>
            </a:r>
            <a:endParaRPr lang="ru-RU" sz="10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212" name="TextBox 211">
            <a:extLst>
              <a:ext uri="{FF2B5EF4-FFF2-40B4-BE49-F238E27FC236}">
                <a16:creationId xmlns:a16="http://schemas.microsoft.com/office/drawing/2014/main" id="{E338DFE7-E04F-483E-BCBD-DFC846181666}"/>
              </a:ext>
            </a:extLst>
          </p:cNvPr>
          <p:cNvSpPr txBox="1"/>
          <p:nvPr/>
        </p:nvSpPr>
        <p:spPr>
          <a:xfrm>
            <a:off x="280334" y="6554272"/>
            <a:ext cx="332692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ПМ</a:t>
            </a:r>
            <a:r>
              <a:rPr lang="ru-RU" sz="10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региональная программа модернизации</a:t>
            </a:r>
            <a:endParaRPr lang="ru-RU" sz="10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92F5D575-9304-4371-833E-7897E8E28B2B}"/>
              </a:ext>
            </a:extLst>
          </p:cNvPr>
          <p:cNvSpPr txBox="1"/>
          <p:nvPr/>
        </p:nvSpPr>
        <p:spPr>
          <a:xfrm>
            <a:off x="1100308" y="4129370"/>
            <a:ext cx="150695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Строительство</a:t>
            </a:r>
          </a:p>
          <a:p>
            <a:r>
              <a:rPr lang="ru-RU" sz="1000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(новых объектов)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BC0EB0E5-E464-4834-AF35-92053F32C0A9}"/>
              </a:ext>
            </a:extLst>
          </p:cNvPr>
          <p:cNvSpPr txBox="1"/>
          <p:nvPr/>
        </p:nvSpPr>
        <p:spPr>
          <a:xfrm>
            <a:off x="8206968" y="3373172"/>
            <a:ext cx="369697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ru-RU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Кассовое исполнение, %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A0C3D3B-4285-4235-9F16-101F05BACA42}"/>
              </a:ext>
            </a:extLst>
          </p:cNvPr>
          <p:cNvSpPr txBox="1"/>
          <p:nvPr/>
        </p:nvSpPr>
        <p:spPr>
          <a:xfrm>
            <a:off x="3938665" y="2055131"/>
            <a:ext cx="59656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600" b="1"/>
            </a:lvl1pPr>
          </a:lstStyle>
          <a:p>
            <a:r>
              <a:rPr lang="ru-RU" dirty="0" smtClean="0"/>
              <a:t>19</a:t>
            </a:r>
            <a:endParaRPr lang="ru-RU" dirty="0"/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E6B87053-163B-4999-A43B-BF4F94110715}"/>
              </a:ext>
            </a:extLst>
          </p:cNvPr>
          <p:cNvSpPr txBox="1"/>
          <p:nvPr/>
        </p:nvSpPr>
        <p:spPr>
          <a:xfrm>
            <a:off x="3970055" y="2720835"/>
            <a:ext cx="59656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/>
              <a:t>104</a:t>
            </a:r>
            <a:endParaRPr lang="ru-RU" sz="1600" b="1" dirty="0"/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F171B13D-AA96-4C20-8565-831F7140784B}"/>
              </a:ext>
            </a:extLst>
          </p:cNvPr>
          <p:cNvSpPr txBox="1"/>
          <p:nvPr/>
        </p:nvSpPr>
        <p:spPr>
          <a:xfrm>
            <a:off x="3969852" y="3448076"/>
            <a:ext cx="59656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600" b="1"/>
            </a:lvl1pPr>
          </a:lstStyle>
          <a:p>
            <a:r>
              <a:rPr lang="ru-RU" dirty="0" smtClean="0"/>
              <a:t>34</a:t>
            </a:r>
            <a:endParaRPr lang="ru-RU" dirty="0"/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6285F0C7-C46E-4F02-A1B7-F1CE8D9B6650}"/>
              </a:ext>
            </a:extLst>
          </p:cNvPr>
          <p:cNvSpPr txBox="1"/>
          <p:nvPr/>
        </p:nvSpPr>
        <p:spPr>
          <a:xfrm>
            <a:off x="4006998" y="4161108"/>
            <a:ext cx="47646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/>
              <a:t>21</a:t>
            </a:r>
            <a:endParaRPr lang="ru-RU" sz="1600" b="1" dirty="0"/>
          </a:p>
        </p:txBody>
      </p:sp>
      <p:graphicFrame>
        <p:nvGraphicFramePr>
          <p:cNvPr id="11" name="Диаграмма 10">
            <a:extLst>
              <a:ext uri="{FF2B5EF4-FFF2-40B4-BE49-F238E27FC236}">
                <a16:creationId xmlns:a16="http://schemas.microsoft.com/office/drawing/2014/main" id="{704E88C0-DCD2-4BE4-B944-6BE75D961AF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7662224"/>
              </p:ext>
            </p:extLst>
          </p:nvPr>
        </p:nvGraphicFramePr>
        <p:xfrm>
          <a:off x="8233089" y="1431935"/>
          <a:ext cx="3670849" cy="19327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15A76681-BF91-445E-8377-3249C049F0DE}"/>
              </a:ext>
            </a:extLst>
          </p:cNvPr>
          <p:cNvSpPr txBox="1"/>
          <p:nvPr/>
        </p:nvSpPr>
        <p:spPr>
          <a:xfrm>
            <a:off x="9572883" y="2224408"/>
            <a:ext cx="898002" cy="4653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 smtClean="0">
                <a:solidFill>
                  <a:schemeClr val="bg2">
                    <a:lumMod val="25000"/>
                  </a:schemeClr>
                </a:solidFill>
              </a:rPr>
              <a:t>2,533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</a:rPr>
              <a:t/>
            </a:r>
            <a:br>
              <a:rPr lang="ru-RU" dirty="0">
                <a:solidFill>
                  <a:schemeClr val="bg2">
                    <a:lumMod val="25000"/>
                  </a:schemeClr>
                </a:solidFill>
              </a:rPr>
            </a:br>
            <a:r>
              <a:rPr lang="ru-RU" sz="1200" dirty="0">
                <a:solidFill>
                  <a:schemeClr val="bg2">
                    <a:lumMod val="25000"/>
                  </a:schemeClr>
                </a:solidFill>
              </a:rPr>
              <a:t>млрд руб.</a:t>
            </a:r>
            <a:endParaRPr lang="ru-RU" dirty="0">
              <a:solidFill>
                <a:schemeClr val="bg2">
                  <a:lumMod val="25000"/>
                </a:schemeClr>
              </a:solidFill>
            </a:endParaRPr>
          </a:p>
        </p:txBody>
      </p:sp>
      <p:graphicFrame>
        <p:nvGraphicFramePr>
          <p:cNvPr id="15" name="Диаграмма 14">
            <a:extLst>
              <a:ext uri="{FF2B5EF4-FFF2-40B4-BE49-F238E27FC236}">
                <a16:creationId xmlns:a16="http://schemas.microsoft.com/office/drawing/2014/main" id="{CEDF191F-7567-48B1-A4CC-054B208C497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25777486"/>
              </p:ext>
            </p:extLst>
          </p:nvPr>
        </p:nvGraphicFramePr>
        <p:xfrm>
          <a:off x="8193747" y="3657777"/>
          <a:ext cx="3717005" cy="25576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pSp>
        <p:nvGrpSpPr>
          <p:cNvPr id="10" name="Группа 9">
            <a:extLst>
              <a:ext uri="{FF2B5EF4-FFF2-40B4-BE49-F238E27FC236}">
                <a16:creationId xmlns:a16="http://schemas.microsoft.com/office/drawing/2014/main" id="{D44AD933-787B-461E-A4A6-A3430827BEF5}"/>
              </a:ext>
            </a:extLst>
          </p:cNvPr>
          <p:cNvGrpSpPr/>
          <p:nvPr/>
        </p:nvGrpSpPr>
        <p:grpSpPr>
          <a:xfrm>
            <a:off x="583290" y="2014037"/>
            <a:ext cx="504000" cy="504000"/>
            <a:chOff x="583290" y="2014037"/>
            <a:chExt cx="504000" cy="504000"/>
          </a:xfrm>
        </p:grpSpPr>
        <p:sp>
          <p:nvSpPr>
            <p:cNvPr id="2" name="Овал 1">
              <a:extLst>
                <a:ext uri="{FF2B5EF4-FFF2-40B4-BE49-F238E27FC236}">
                  <a16:creationId xmlns:a16="http://schemas.microsoft.com/office/drawing/2014/main" id="{5A53AA87-E4A9-4B94-8D32-29EDF1C148D6}"/>
                </a:ext>
              </a:extLst>
            </p:cNvPr>
            <p:cNvSpPr/>
            <p:nvPr/>
          </p:nvSpPr>
          <p:spPr>
            <a:xfrm>
              <a:off x="583290" y="2014037"/>
              <a:ext cx="504000" cy="504000"/>
            </a:xfrm>
            <a:prstGeom prst="ellipse">
              <a:avLst/>
            </a:prstGeom>
            <a:solidFill>
              <a:srgbClr val="44546A"/>
            </a:solidFill>
            <a:ln w="38100"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pic>
          <p:nvPicPr>
            <p:cNvPr id="49" name="Picture 2">
              <a:extLst>
                <a:ext uri="{FF2B5EF4-FFF2-40B4-BE49-F238E27FC236}">
                  <a16:creationId xmlns:a16="http://schemas.microsoft.com/office/drawing/2014/main" id="{505476E0-1066-46D2-8940-DE07A09FCE3B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686298" y="2163192"/>
              <a:ext cx="318806" cy="183529"/>
            </a:xfrm>
            <a:prstGeom prst="rect">
              <a:avLst/>
            </a:prstGeom>
            <a:solidFill>
              <a:schemeClr val="tx1"/>
            </a:solidFill>
          </p:spPr>
        </p:pic>
      </p:grpSp>
      <p:grpSp>
        <p:nvGrpSpPr>
          <p:cNvPr id="13" name="Группа 12">
            <a:extLst>
              <a:ext uri="{FF2B5EF4-FFF2-40B4-BE49-F238E27FC236}">
                <a16:creationId xmlns:a16="http://schemas.microsoft.com/office/drawing/2014/main" id="{8B04FC4B-9B3C-4E90-AFE8-6FDD886B62F2}"/>
              </a:ext>
            </a:extLst>
          </p:cNvPr>
          <p:cNvGrpSpPr/>
          <p:nvPr/>
        </p:nvGrpSpPr>
        <p:grpSpPr>
          <a:xfrm>
            <a:off x="583290" y="2696210"/>
            <a:ext cx="504000" cy="504000"/>
            <a:chOff x="583290" y="2696210"/>
            <a:chExt cx="504000" cy="504000"/>
          </a:xfrm>
        </p:grpSpPr>
        <p:sp>
          <p:nvSpPr>
            <p:cNvPr id="50" name="Овал 49">
              <a:extLst>
                <a:ext uri="{FF2B5EF4-FFF2-40B4-BE49-F238E27FC236}">
                  <a16:creationId xmlns:a16="http://schemas.microsoft.com/office/drawing/2014/main" id="{B8C36BA1-2F68-4D84-BBF3-18616339EDE0}"/>
                </a:ext>
              </a:extLst>
            </p:cNvPr>
            <p:cNvSpPr/>
            <p:nvPr/>
          </p:nvSpPr>
          <p:spPr>
            <a:xfrm>
              <a:off x="583290" y="2696210"/>
              <a:ext cx="504000" cy="504000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pic>
          <p:nvPicPr>
            <p:cNvPr id="56" name="Picture 99">
              <a:extLst>
                <a:ext uri="{FF2B5EF4-FFF2-40B4-BE49-F238E27FC236}">
                  <a16:creationId xmlns:a16="http://schemas.microsoft.com/office/drawing/2014/main" id="{649A58AA-A711-4F02-A7DE-A6B732E1FC80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biLevel thresh="75000"/>
            </a:blip>
            <a:stretch>
              <a:fillRect/>
            </a:stretch>
          </p:blipFill>
          <p:spPr>
            <a:xfrm>
              <a:off x="676063" y="2767307"/>
              <a:ext cx="330339" cy="365255"/>
            </a:xfrm>
            <a:prstGeom prst="rect">
              <a:avLst/>
            </a:prstGeom>
          </p:spPr>
        </p:pic>
      </p:grpSp>
      <p:grpSp>
        <p:nvGrpSpPr>
          <p:cNvPr id="14" name="Группа 13">
            <a:extLst>
              <a:ext uri="{FF2B5EF4-FFF2-40B4-BE49-F238E27FC236}">
                <a16:creationId xmlns:a16="http://schemas.microsoft.com/office/drawing/2014/main" id="{7953684D-2E47-43DD-A6C8-2D8ED3A7D4CF}"/>
              </a:ext>
            </a:extLst>
          </p:cNvPr>
          <p:cNvGrpSpPr/>
          <p:nvPr/>
        </p:nvGrpSpPr>
        <p:grpSpPr>
          <a:xfrm>
            <a:off x="586858" y="3365552"/>
            <a:ext cx="496864" cy="504000"/>
            <a:chOff x="586858" y="3365552"/>
            <a:chExt cx="496864" cy="504000"/>
          </a:xfrm>
        </p:grpSpPr>
        <p:sp>
          <p:nvSpPr>
            <p:cNvPr id="51" name="Овал 50">
              <a:extLst>
                <a:ext uri="{FF2B5EF4-FFF2-40B4-BE49-F238E27FC236}">
                  <a16:creationId xmlns:a16="http://schemas.microsoft.com/office/drawing/2014/main" id="{E1FD2ABA-39FB-4F98-91B2-7FBAD8D74134}"/>
                </a:ext>
              </a:extLst>
            </p:cNvPr>
            <p:cNvSpPr/>
            <p:nvPr/>
          </p:nvSpPr>
          <p:spPr>
            <a:xfrm>
              <a:off x="586858" y="3365552"/>
              <a:ext cx="496864" cy="504000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pic>
          <p:nvPicPr>
            <p:cNvPr id="63" name="Picture 11" descr="http://files.nicwebsite.ru/rucenter15257/image/_38.jpg">
              <a:extLst>
                <a:ext uri="{FF2B5EF4-FFF2-40B4-BE49-F238E27FC236}">
                  <a16:creationId xmlns:a16="http://schemas.microsoft.com/office/drawing/2014/main" id="{57656A13-7142-4450-9829-D2B7595CB4E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9134" y="3397866"/>
              <a:ext cx="420864" cy="42086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</p:pic>
      </p:grpSp>
      <p:sp>
        <p:nvSpPr>
          <p:cNvPr id="52" name="Овал 51">
            <a:extLst>
              <a:ext uri="{FF2B5EF4-FFF2-40B4-BE49-F238E27FC236}">
                <a16:creationId xmlns:a16="http://schemas.microsoft.com/office/drawing/2014/main" id="{33E85848-A963-4440-88BB-F0588514CB13}"/>
              </a:ext>
            </a:extLst>
          </p:cNvPr>
          <p:cNvSpPr/>
          <p:nvPr/>
        </p:nvSpPr>
        <p:spPr>
          <a:xfrm>
            <a:off x="586858" y="4094855"/>
            <a:ext cx="496864" cy="50400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grpSp>
        <p:nvGrpSpPr>
          <p:cNvPr id="71" name="Group 3">
            <a:extLst>
              <a:ext uri="{FF2B5EF4-FFF2-40B4-BE49-F238E27FC236}">
                <a16:creationId xmlns:a16="http://schemas.microsoft.com/office/drawing/2014/main" id="{9970251F-1C31-421A-B505-108031696320}"/>
              </a:ext>
            </a:extLst>
          </p:cNvPr>
          <p:cNvGrpSpPr/>
          <p:nvPr/>
        </p:nvGrpSpPr>
        <p:grpSpPr>
          <a:xfrm>
            <a:off x="645538" y="4161108"/>
            <a:ext cx="370623" cy="358174"/>
            <a:chOff x="11001705" y="11277009"/>
            <a:chExt cx="2346446" cy="2267632"/>
          </a:xfrm>
        </p:grpSpPr>
        <p:pic>
          <p:nvPicPr>
            <p:cNvPr id="72" name="Picture 13" descr="https://image.flaticon.com/icons/png/512/15/15693.png">
              <a:extLst>
                <a:ext uri="{FF2B5EF4-FFF2-40B4-BE49-F238E27FC236}">
                  <a16:creationId xmlns:a16="http://schemas.microsoft.com/office/drawing/2014/main" id="{D899E55C-E4AF-41F1-B812-FEC7FF68FD8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080521" y="11277009"/>
              <a:ext cx="2267630" cy="22676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3" name="Picture 15" descr="https://urfu-2017.github.io/javascript-slides/08-async/lib/img/loader-done.png">
              <a:extLst>
                <a:ext uri="{FF2B5EF4-FFF2-40B4-BE49-F238E27FC236}">
                  <a16:creationId xmlns:a16="http://schemas.microsoft.com/office/drawing/2014/main" id="{09EC18B1-1360-42CF-99D7-E16D0404620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 cstate="print">
              <a:extLst>
                <a:ext uri="{BEBA8EAE-BF5A-486C-A8C5-ECC9F3942E4B}">
                  <a14:imgProps xmlns:a14="http://schemas.microsoft.com/office/drawing/2010/main">
                    <a14:imgLayer r:embed="rId16">
                      <a14:imgEffect>
                        <a14:artisticPhotocopy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001705" y="12043367"/>
              <a:ext cx="1252815" cy="1252815"/>
            </a:xfrm>
            <a:prstGeom prst="rect">
              <a:avLst/>
            </a:prstGeom>
            <a:solidFill>
              <a:srgbClr val="FFFFFF"/>
            </a:solidFill>
          </p:spPr>
        </p:pic>
      </p:grpSp>
      <p:pic>
        <p:nvPicPr>
          <p:cNvPr id="47" name="Picture 55" descr="https://sun9-70.userapi.com/sun9-67/impg/BYN5YSvgOZPaWOsIYKot2IeAjZpzPumVWXfFyA/d_ONlWsBltI.jpg?size=727x370&amp;quality=96&amp;sign=0bfc904bb711b9237da0349f96248802&amp;c_uniq_tag=UBBkQQsjy3PUYgJFEe-rPY_A7uwbFqHHNXghCrA3oFM&amp;type=album"/>
          <p:cNvPicPr>
            <a:picLocks noChangeAspect="1" noChangeArrowheads="1"/>
          </p:cNvPicPr>
          <p:nvPr/>
        </p:nvPicPr>
        <p:blipFill rotWithShape="1"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28" t="23709" r="22350" b="27669"/>
          <a:stretch/>
        </p:blipFill>
        <p:spPr bwMode="auto">
          <a:xfrm>
            <a:off x="7400952" y="369298"/>
            <a:ext cx="1664274" cy="670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Номер слайда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242F335-7976-4CDA-A592-2CBE9F9A773B}" type="slidenum">
              <a:rPr lang="ru-RU" smtClean="0"/>
              <a:pPr/>
              <a:t>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60795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wm37laotyvydanSBNFJQ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108</TotalTime>
  <Words>89</Words>
  <Application>Microsoft Office PowerPoint</Application>
  <PresentationFormat>Широкоэкранный</PresentationFormat>
  <Paragraphs>33</Paragraphs>
  <Slides>2</Slides>
  <Notes>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</vt:i4>
      </vt:variant>
    </vt:vector>
  </HeadingPairs>
  <TitlesOfParts>
    <vt:vector size="10" baseType="lpstr">
      <vt:lpstr>Arial</vt:lpstr>
      <vt:lpstr>Calibri</vt:lpstr>
      <vt:lpstr>Calibri Light</vt:lpstr>
      <vt:lpstr>Helvetica Neue</vt:lpstr>
      <vt:lpstr>Manrope Bold</vt:lpstr>
      <vt:lpstr>Tahoma</vt:lpstr>
      <vt:lpstr>Тема Office</vt:lpstr>
      <vt:lpstr>Слайд think-cell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Иван Юрченко</dc:creator>
  <cp:lastModifiedBy>User</cp:lastModifiedBy>
  <cp:revision>191</cp:revision>
  <cp:lastPrinted>2024-01-15T13:33:01Z</cp:lastPrinted>
  <dcterms:created xsi:type="dcterms:W3CDTF">2021-07-15T07:55:03Z</dcterms:created>
  <dcterms:modified xsi:type="dcterms:W3CDTF">2024-06-14T09:07:51Z</dcterms:modified>
</cp:coreProperties>
</file>